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</p:sldMasterIdLst>
  <p:notesMasterIdLst>
    <p:notesMasterId r:id="rId5"/>
  </p:notesMasterIdLst>
  <p:handoutMasterIdLst>
    <p:handoutMasterId r:id="rId6"/>
  </p:handoutMasterIdLst>
  <p:sldIdLst>
    <p:sldId id="263" r:id="rId4"/>
  </p:sldIdLst>
  <p:sldSz cx="8961438" cy="6721475"/>
  <p:notesSz cx="6743700" cy="9906000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65CC"/>
    <a:srgbClr val="808080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81" autoAdjust="0"/>
    <p:restoredTop sz="94684" autoAdjust="0"/>
  </p:normalViewPr>
  <p:slideViewPr>
    <p:cSldViewPr snapToGrid="0" snapToObjects="1">
      <p:cViewPr varScale="1">
        <p:scale>
          <a:sx n="75" d="100"/>
          <a:sy n="75" d="100"/>
        </p:scale>
        <p:origin x="1620" y="60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1704876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5.emf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image" Target="../media/image4.emf"/><Relationship Id="rId2" Type="http://schemas.openxmlformats.org/officeDocument/2006/relationships/tags" Target="../tags/tag14.xml"/><Relationship Id="rId16" Type="http://schemas.openxmlformats.org/officeDocument/2006/relationships/image" Target="../media/image3.jpg"/><Relationship Id="rId1" Type="http://schemas.openxmlformats.org/officeDocument/2006/relationships/vmlDrawing" Target="../drawings/vmlDrawing2.v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image" Target="../media/image2.emf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2:11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" y="317"/>
            <a:ext cx="8961120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2:11 PM Easter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2:11 PM Easter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3.v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image" Target="../media/image6.jpg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27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3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9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.emf"/><Relationship Id="rId4" Type="http://schemas.openxmlformats.org/officeDocument/2006/relationships/theme" Target="../theme/theme3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/6/2019 2:11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6"/>
            <a:ext cx="89614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847013" y="457200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2:11 PM Eastern Standard Time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39405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2:11 PM Easter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895322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0.png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image" Target="../media/image9.png"/><Relationship Id="rId2" Type="http://schemas.openxmlformats.org/officeDocument/2006/relationships/tags" Target="../tags/tag33.xml"/><Relationship Id="rId1" Type="http://schemas.openxmlformats.org/officeDocument/2006/relationships/vmlDrawing" Target="../drawings/vmlDrawing5.vml"/><Relationship Id="rId6" Type="http://schemas.openxmlformats.org/officeDocument/2006/relationships/tags" Target="../tags/tag37.xml"/><Relationship Id="rId11" Type="http://schemas.openxmlformats.org/officeDocument/2006/relationships/image" Target="../media/image8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5.bin"/><Relationship Id="rId4" Type="http://schemas.openxmlformats.org/officeDocument/2006/relationships/tags" Target="../tags/tag35.xml"/><Relationship Id="rId9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492443"/>
          </a:xfrm>
        </p:spPr>
        <p:txBody>
          <a:bodyPr/>
          <a:lstStyle/>
          <a:p>
            <a:r>
              <a:rPr lang="en-US" altLang="ja-JP" sz="1600" dirty="0">
                <a:ea typeface="MS PGothic" pitchFamily="34" charset="-128"/>
              </a:rPr>
              <a:t>Largest housing material manufacturer – optimized sales channel network and account allocation based on virtual PL by accounts</a:t>
            </a:r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6" y="1008063"/>
            <a:ext cx="4013331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4027556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6307268" y="919163"/>
            <a:ext cx="2406177" cy="5329237"/>
            <a:chOff x="5754688" y="919163"/>
            <a:chExt cx="2911475" cy="5329237"/>
          </a:xfrm>
        </p:grpSpPr>
        <p:sp>
          <p:nvSpPr>
            <p:cNvPr id="84009" name="Rectangle 41"/>
            <p:cNvSpPr>
              <a:spLocks noChangeArrowheads="1"/>
            </p:cNvSpPr>
            <p:nvPr/>
          </p:nvSpPr>
          <p:spPr bwMode="gray">
            <a:xfrm>
              <a:off x="5754688" y="919163"/>
              <a:ext cx="2911475" cy="53975"/>
            </a:xfrm>
            <a:prstGeom prst="rect">
              <a:avLst/>
            </a:prstGeom>
            <a:solidFill>
              <a:schemeClr val="hlink"/>
            </a:solidFill>
            <a:ln w="19050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0" name="Rectangle 42"/>
            <p:cNvSpPr>
              <a:spLocks noChangeArrowheads="1"/>
            </p:cNvSpPr>
            <p:nvPr/>
          </p:nvSpPr>
          <p:spPr bwMode="gray">
            <a:xfrm>
              <a:off x="5754688" y="1008063"/>
              <a:ext cx="2911475" cy="524033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7" name="Rectangle 49"/>
            <p:cNvSpPr>
              <a:spLocks noChangeArrowheads="1"/>
            </p:cNvSpPr>
            <p:nvPr/>
          </p:nvSpPr>
          <p:spPr bwMode="gray">
            <a:xfrm>
              <a:off x="5830887" y="1055688"/>
              <a:ext cx="2761968" cy="346075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cs typeface="Arial" charset="0"/>
              </a:endParaRPr>
            </a:p>
          </p:txBody>
        </p:sp>
        <p:sp>
          <p:nvSpPr>
            <p:cNvPr id="84018" name="Rectangle 50"/>
            <p:cNvSpPr>
              <a:spLocks noChangeArrowheads="1"/>
            </p:cNvSpPr>
            <p:nvPr/>
          </p:nvSpPr>
          <p:spPr bwMode="gray">
            <a:xfrm>
              <a:off x="5905500" y="1122363"/>
              <a:ext cx="571500" cy="2127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altLang="ja-JP" sz="1400" b="1">
                  <a:solidFill>
                    <a:schemeClr val="bg1"/>
                  </a:solidFill>
                  <a:ea typeface="MS PGothic" pitchFamily="34" charset="-128"/>
                </a:rPr>
                <a:t>Impact</a:t>
              </a:r>
            </a:p>
          </p:txBody>
        </p:sp>
      </p:grp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974211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98638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Largest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housing material  equipment supplier in Japan</a:t>
            </a:r>
            <a:endParaRPr lang="en-US" altLang="ja-JP" sz="1400" dirty="0">
              <a:solidFill>
                <a:schemeClr val="accent4"/>
              </a:solidFill>
              <a:ea typeface="MS PGothic" pitchFamily="34" charset="-128"/>
            </a:endParaRP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251074" y="1479550"/>
            <a:ext cx="2141697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We analyzed the whole accounts data and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developed sales channel network map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311" name="Rectangle 96"/>
          <p:cNvSpPr>
            <a:spLocks noChangeArrowheads="1"/>
          </p:cNvSpPr>
          <p:nvPr/>
        </p:nvSpPr>
        <p:spPr bwMode="gray">
          <a:xfrm>
            <a:off x="2251074" y="2723631"/>
            <a:ext cx="3756421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To design efficient channel network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(e.g. accounts to go or delegate to distributor / areas to promote integration), we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calculated each accounts’ virtual PL by bridging sales database &amp; daily report data base, then found a lot of OP minus accounts </a:t>
            </a:r>
          </a:p>
        </p:txBody>
      </p:sp>
      <p:sp>
        <p:nvSpPr>
          <p:cNvPr id="312" name="Rectangle 94"/>
          <p:cNvSpPr>
            <a:spLocks noChangeArrowheads="1"/>
          </p:cNvSpPr>
          <p:nvPr/>
        </p:nvSpPr>
        <p:spPr bwMode="gray">
          <a:xfrm>
            <a:off x="203200" y="2723631"/>
            <a:ext cx="1798638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After rapid in organic growth,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B2B sales channel network became so complicated…</a:t>
            </a:r>
          </a:p>
        </p:txBody>
      </p:sp>
      <p:sp>
        <p:nvSpPr>
          <p:cNvPr id="313" name="Rectangle 94"/>
          <p:cNvSpPr>
            <a:spLocks noChangeArrowheads="1"/>
          </p:cNvSpPr>
          <p:nvPr/>
        </p:nvSpPr>
        <p:spPr bwMode="gray">
          <a:xfrm>
            <a:off x="203200" y="4127054"/>
            <a:ext cx="1798638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President of the group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ordered its optimization but no one grasped overall picture</a:t>
            </a:r>
            <a:endParaRPr lang="en-US" altLang="ja-JP" sz="1400" dirty="0">
              <a:ea typeface="MS PGothic" pitchFamily="34" charset="-128"/>
            </a:endParaRPr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526120" y="1511299"/>
            <a:ext cx="1314150" cy="1101045"/>
          </a:xfrm>
          <a:prstGeom prst="rect">
            <a:avLst/>
          </a:prstGeom>
        </p:spPr>
      </p:pic>
      <p:sp>
        <p:nvSpPr>
          <p:cNvPr id="318" name="Freeform 317"/>
          <p:cNvSpPr/>
          <p:nvPr/>
        </p:nvSpPr>
        <p:spPr>
          <a:xfrm>
            <a:off x="3243909" y="4343532"/>
            <a:ext cx="475140" cy="522654"/>
          </a:xfrm>
          <a:custGeom>
            <a:avLst/>
            <a:gdLst>
              <a:gd name="connsiteX0" fmla="*/ 111573 w 841739"/>
              <a:gd name="connsiteY0" fmla="*/ 321881 h 841739"/>
              <a:gd name="connsiteX1" fmla="*/ 321881 w 841739"/>
              <a:gd name="connsiteY1" fmla="*/ 321881 h 841739"/>
              <a:gd name="connsiteX2" fmla="*/ 321881 w 841739"/>
              <a:gd name="connsiteY2" fmla="*/ 111573 h 841739"/>
              <a:gd name="connsiteX3" fmla="*/ 519858 w 841739"/>
              <a:gd name="connsiteY3" fmla="*/ 111573 h 841739"/>
              <a:gd name="connsiteX4" fmla="*/ 519858 w 841739"/>
              <a:gd name="connsiteY4" fmla="*/ 321881 h 841739"/>
              <a:gd name="connsiteX5" fmla="*/ 730166 w 841739"/>
              <a:gd name="connsiteY5" fmla="*/ 321881 h 841739"/>
              <a:gd name="connsiteX6" fmla="*/ 730166 w 841739"/>
              <a:gd name="connsiteY6" fmla="*/ 519858 h 841739"/>
              <a:gd name="connsiteX7" fmla="*/ 519858 w 841739"/>
              <a:gd name="connsiteY7" fmla="*/ 519858 h 841739"/>
              <a:gd name="connsiteX8" fmla="*/ 519858 w 841739"/>
              <a:gd name="connsiteY8" fmla="*/ 730166 h 841739"/>
              <a:gd name="connsiteX9" fmla="*/ 321881 w 841739"/>
              <a:gd name="connsiteY9" fmla="*/ 730166 h 841739"/>
              <a:gd name="connsiteX10" fmla="*/ 321881 w 841739"/>
              <a:gd name="connsiteY10" fmla="*/ 519858 h 841739"/>
              <a:gd name="connsiteX11" fmla="*/ 111573 w 841739"/>
              <a:gd name="connsiteY11" fmla="*/ 519858 h 841739"/>
              <a:gd name="connsiteX12" fmla="*/ 111573 w 841739"/>
              <a:gd name="connsiteY12" fmla="*/ 321881 h 841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41739" h="841739">
                <a:moveTo>
                  <a:pt x="111573" y="321881"/>
                </a:moveTo>
                <a:lnTo>
                  <a:pt x="321881" y="321881"/>
                </a:lnTo>
                <a:lnTo>
                  <a:pt x="321881" y="111573"/>
                </a:lnTo>
                <a:lnTo>
                  <a:pt x="519858" y="111573"/>
                </a:lnTo>
                <a:lnTo>
                  <a:pt x="519858" y="321881"/>
                </a:lnTo>
                <a:lnTo>
                  <a:pt x="730166" y="321881"/>
                </a:lnTo>
                <a:lnTo>
                  <a:pt x="730166" y="519858"/>
                </a:lnTo>
                <a:lnTo>
                  <a:pt x="519858" y="519858"/>
                </a:lnTo>
                <a:lnTo>
                  <a:pt x="519858" y="730166"/>
                </a:lnTo>
                <a:lnTo>
                  <a:pt x="321881" y="730166"/>
                </a:lnTo>
                <a:lnTo>
                  <a:pt x="321881" y="519858"/>
                </a:lnTo>
                <a:lnTo>
                  <a:pt x="111573" y="519858"/>
                </a:lnTo>
                <a:lnTo>
                  <a:pt x="111573" y="32188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11573" tIns="321881" rIns="111573" bIns="321881" numCol="1" spcCol="1270" anchor="ctr" anchorCtr="0">
            <a:noAutofit/>
          </a:bodyPr>
          <a:lstStyle/>
          <a:p>
            <a:pPr lvl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kumimoji="1" lang="ja-JP" altLang="en-US" sz="1200" kern="120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320" name="Freeform 319"/>
          <p:cNvSpPr/>
          <p:nvPr/>
        </p:nvSpPr>
        <p:spPr>
          <a:xfrm>
            <a:off x="4733013" y="4381771"/>
            <a:ext cx="286559" cy="446177"/>
          </a:xfrm>
          <a:custGeom>
            <a:avLst/>
            <a:gdLst>
              <a:gd name="connsiteX0" fmla="*/ 0 w 461505"/>
              <a:gd name="connsiteY0" fmla="*/ 107975 h 539874"/>
              <a:gd name="connsiteX1" fmla="*/ 230753 w 461505"/>
              <a:gd name="connsiteY1" fmla="*/ 107975 h 539874"/>
              <a:gd name="connsiteX2" fmla="*/ 230753 w 461505"/>
              <a:gd name="connsiteY2" fmla="*/ 0 h 539874"/>
              <a:gd name="connsiteX3" fmla="*/ 461505 w 461505"/>
              <a:gd name="connsiteY3" fmla="*/ 269937 h 539874"/>
              <a:gd name="connsiteX4" fmla="*/ 230753 w 461505"/>
              <a:gd name="connsiteY4" fmla="*/ 539874 h 539874"/>
              <a:gd name="connsiteX5" fmla="*/ 230753 w 461505"/>
              <a:gd name="connsiteY5" fmla="*/ 431899 h 539874"/>
              <a:gd name="connsiteX6" fmla="*/ 0 w 461505"/>
              <a:gd name="connsiteY6" fmla="*/ 431899 h 539874"/>
              <a:gd name="connsiteX7" fmla="*/ 0 w 461505"/>
              <a:gd name="connsiteY7" fmla="*/ 107975 h 539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1505" h="539874">
                <a:moveTo>
                  <a:pt x="0" y="107975"/>
                </a:moveTo>
                <a:lnTo>
                  <a:pt x="230753" y="107975"/>
                </a:lnTo>
                <a:lnTo>
                  <a:pt x="230753" y="0"/>
                </a:lnTo>
                <a:lnTo>
                  <a:pt x="461505" y="269937"/>
                </a:lnTo>
                <a:lnTo>
                  <a:pt x="230753" y="539874"/>
                </a:lnTo>
                <a:lnTo>
                  <a:pt x="230753" y="431899"/>
                </a:lnTo>
                <a:lnTo>
                  <a:pt x="0" y="431899"/>
                </a:lnTo>
                <a:lnTo>
                  <a:pt x="0" y="107975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107975" rIns="138451" bIns="107975" numCol="1" spcCol="1270" anchor="ctr" anchorCtr="0">
            <a:noAutofit/>
          </a:bodyPr>
          <a:lstStyle/>
          <a:p>
            <a:pPr lvl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kumimoji="1" lang="ja-JP" altLang="en-US" sz="1800" kern="120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321" name="Flowchart: Magnetic Disk 320"/>
          <p:cNvSpPr/>
          <p:nvPr/>
        </p:nvSpPr>
        <p:spPr>
          <a:xfrm>
            <a:off x="2429121" y="4278555"/>
            <a:ext cx="797327" cy="587631"/>
          </a:xfrm>
          <a:prstGeom prst="flowChartMagneticDisk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200" b="1" dirty="0">
                <a:solidFill>
                  <a:schemeClr val="tx1"/>
                </a:solidFill>
              </a:rPr>
              <a:t>Sales DB</a:t>
            </a:r>
            <a:endParaRPr kumimoji="1" lang="ja-JP" altLang="en-US" sz="1200" b="1" dirty="0" err="1">
              <a:solidFill>
                <a:schemeClr val="tx1"/>
              </a:solidFill>
            </a:endParaRPr>
          </a:p>
        </p:txBody>
      </p:sp>
      <p:sp>
        <p:nvSpPr>
          <p:cNvPr id="322" name="Flowchart: Magnetic Disk 321"/>
          <p:cNvSpPr/>
          <p:nvPr/>
        </p:nvSpPr>
        <p:spPr>
          <a:xfrm>
            <a:off x="3800264" y="4278555"/>
            <a:ext cx="797327" cy="587631"/>
          </a:xfrm>
          <a:prstGeom prst="flowChartMagneticDisk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200" b="1" dirty="0">
                <a:solidFill>
                  <a:schemeClr val="tx1"/>
                </a:solidFill>
              </a:rPr>
              <a:t>Daily Report DB</a:t>
            </a:r>
            <a:endParaRPr kumimoji="1" lang="ja-JP" altLang="en-US" sz="900" b="1" dirty="0" err="1">
              <a:solidFill>
                <a:schemeClr val="tx1"/>
              </a:solidFill>
            </a:endParaRPr>
          </a:p>
        </p:txBody>
      </p:sp>
      <p:sp>
        <p:nvSpPr>
          <p:cNvPr id="329" name="Round Diagonal Corner Rectangle 328"/>
          <p:cNvSpPr/>
          <p:nvPr/>
        </p:nvSpPr>
        <p:spPr>
          <a:xfrm>
            <a:off x="5363477" y="4032866"/>
            <a:ext cx="568863" cy="757738"/>
          </a:xfrm>
          <a:prstGeom prst="round2DiagRect">
            <a:avLst>
              <a:gd name="adj1" fmla="val 8276"/>
              <a:gd name="adj2" fmla="val 0"/>
            </a:avLst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kumimoji="1" lang="ja-JP" altLang="en-US" b="1" dirty="0" err="1">
              <a:solidFill>
                <a:schemeClr val="tx1"/>
              </a:solidFill>
            </a:endParaRPr>
          </a:p>
        </p:txBody>
      </p:sp>
      <p:sp>
        <p:nvSpPr>
          <p:cNvPr id="330" name="Round Diagonal Corner Rectangle 329"/>
          <p:cNvSpPr/>
          <p:nvPr/>
        </p:nvSpPr>
        <p:spPr>
          <a:xfrm>
            <a:off x="5277466" y="4120974"/>
            <a:ext cx="568863" cy="757738"/>
          </a:xfrm>
          <a:prstGeom prst="round2DiagRect">
            <a:avLst>
              <a:gd name="adj1" fmla="val 8276"/>
              <a:gd name="adj2" fmla="val 0"/>
            </a:avLst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kumimoji="1" lang="ja-JP" altLang="en-US" b="1" dirty="0" err="1">
              <a:solidFill>
                <a:schemeClr val="tx1"/>
              </a:solidFill>
            </a:endParaRPr>
          </a:p>
        </p:txBody>
      </p:sp>
      <p:sp>
        <p:nvSpPr>
          <p:cNvPr id="331" name="Round Diagonal Corner Rectangle 330"/>
          <p:cNvSpPr/>
          <p:nvPr/>
        </p:nvSpPr>
        <p:spPr>
          <a:xfrm>
            <a:off x="5196251" y="4226145"/>
            <a:ext cx="568863" cy="757738"/>
          </a:xfrm>
          <a:prstGeom prst="round2DiagRect">
            <a:avLst>
              <a:gd name="adj1" fmla="val 8276"/>
              <a:gd name="adj2" fmla="val 0"/>
            </a:avLst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en-US" altLang="ja-JP" sz="1200" b="1" dirty="0">
                <a:solidFill>
                  <a:schemeClr val="tx1"/>
                </a:solidFill>
              </a:rPr>
              <a:t>PL by </a:t>
            </a:r>
          </a:p>
          <a:p>
            <a:pPr algn="ctr"/>
            <a:r>
              <a:rPr kumimoji="1" lang="en-US" altLang="ja-JP" sz="1200" b="1" dirty="0">
                <a:solidFill>
                  <a:schemeClr val="tx1"/>
                </a:solidFill>
              </a:rPr>
              <a:t>account</a:t>
            </a:r>
            <a:endParaRPr kumimoji="1" lang="ja-JP" altLang="en-US" sz="1200" b="1" dirty="0" err="1">
              <a:solidFill>
                <a:schemeClr val="tx1"/>
              </a:solidFill>
            </a:endParaRPr>
          </a:p>
        </p:txBody>
      </p:sp>
      <p:pic>
        <p:nvPicPr>
          <p:cNvPr id="51" name="Picture 50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629810" y="5076114"/>
            <a:ext cx="2333343" cy="1012651"/>
          </a:xfrm>
          <a:prstGeom prst="rect">
            <a:avLst/>
          </a:prstGeom>
        </p:spPr>
      </p:pic>
      <p:sp>
        <p:nvSpPr>
          <p:cNvPr id="333" name="Rectangle 96"/>
          <p:cNvSpPr>
            <a:spLocks noChangeArrowheads="1"/>
          </p:cNvSpPr>
          <p:nvPr/>
        </p:nvSpPr>
        <p:spPr bwMode="gray">
          <a:xfrm>
            <a:off x="2251075" y="5043831"/>
            <a:ext cx="1322158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Designed integration plan and account allocation</a:t>
            </a:r>
            <a:endParaRPr lang="en-US" altLang="ja-JP" sz="1400" dirty="0">
              <a:solidFill>
                <a:schemeClr val="accent4"/>
              </a:solidFill>
              <a:ea typeface="MS PGothic" pitchFamily="34" charset="-128"/>
            </a:endParaRPr>
          </a:p>
        </p:txBody>
      </p:sp>
      <p:sp>
        <p:nvSpPr>
          <p:cNvPr id="334" name="Rectangle 96"/>
          <p:cNvSpPr>
            <a:spLocks noChangeArrowheads="1"/>
          </p:cNvSpPr>
          <p:nvPr/>
        </p:nvSpPr>
        <p:spPr bwMode="gray">
          <a:xfrm>
            <a:off x="6431906" y="1479550"/>
            <a:ext cx="2141697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OP+: Published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mid-term management plan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and executing restructuring of channel network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to improve OP $ 100~ mln</a:t>
            </a:r>
            <a:endParaRPr lang="en-US" altLang="ja-JP" sz="1400" b="1" dirty="0">
              <a:solidFill>
                <a:schemeClr val="tx2"/>
              </a:solidFill>
              <a:ea typeface="MS PGothic" pitchFamily="34" charset="-128"/>
            </a:endParaRPr>
          </a:p>
        </p:txBody>
      </p:sp>
      <p:sp>
        <p:nvSpPr>
          <p:cNvPr id="335" name="Rectangle 96"/>
          <p:cNvSpPr>
            <a:spLocks noChangeArrowheads="1"/>
          </p:cNvSpPr>
          <p:nvPr/>
        </p:nvSpPr>
        <p:spPr bwMode="gray">
          <a:xfrm>
            <a:off x="6431906" y="2969083"/>
            <a:ext cx="2141697" cy="1508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Corporate culture change: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from Sales/Gross profit based account planning to Operation profit based accounts </a:t>
            </a:r>
            <a:r>
              <a:rPr lang="en-US" altLang="ja-JP" sz="1400" b="1" dirty="0" err="1">
                <a:solidFill>
                  <a:schemeClr val="accent4"/>
                </a:solidFill>
                <a:ea typeface="MS PGothic" pitchFamily="34" charset="-128"/>
              </a:rPr>
              <a:t>PDCA</a:t>
            </a:r>
            <a:endParaRPr lang="en-US" altLang="ja-JP" sz="1400" b="1" dirty="0">
              <a:solidFill>
                <a:schemeClr val="accent4"/>
              </a:solidFill>
              <a:ea typeface="MS PGothic" pitchFamily="34" charset="-128"/>
            </a:endParaRPr>
          </a:p>
        </p:txBody>
      </p:sp>
      <p:sp>
        <p:nvSpPr>
          <p:cNvPr id="42" name="Rectangle 13">
            <a:extLst>
              <a:ext uri="{FF2B5EF4-FFF2-40B4-BE49-F238E27FC236}">
                <a16:creationId xmlns:a16="http://schemas.microsoft.com/office/drawing/2014/main" id="{4CF31DE8-6DDE-4545-B175-91ADF19385B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3670008" cy="145663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ic Materials (GEM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4" name="Rectangle 13">
            <a:extLst>
              <a:ext uri="{FF2B5EF4-FFF2-40B4-BE49-F238E27FC236}">
                <a16:creationId xmlns:a16="http://schemas.microsoft.com/office/drawing/2014/main" id="{124FCC57-1210-A941-8AE4-A4A6EBAB7333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0657" y="0"/>
            <a:ext cx="667512" cy="145664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017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78525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True"/>
  <p:tag name="PREVIOUSNAME" val="C:\Users\Najah Mushatt\Downloads\Single Page\Single Page\BAS017_Optimized sales channel network and account allocation based on virtual PL by accounts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4179</TotalTime>
  <Words>177</Words>
  <Application>Microsoft Office PowerPoint</Application>
  <PresentationFormat>Custom</PresentationFormat>
  <Paragraphs>1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Arial</vt:lpstr>
      <vt:lpstr>AW2014</vt:lpstr>
      <vt:lpstr>Blank</vt:lpstr>
      <vt:lpstr>Firm Format - English (US)</vt:lpstr>
      <vt:lpstr>think-cell Slide</vt:lpstr>
      <vt:lpstr>Largest housing material manufacturer – optimized sales channel network and account allocation based on virtual PL by accoun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Najah Mushatt</cp:lastModifiedBy>
  <cp:revision>105</cp:revision>
  <cp:lastPrinted>2008-09-19T11:06:26Z</cp:lastPrinted>
  <dcterms:created xsi:type="dcterms:W3CDTF">2014-02-06T06:04:59Z</dcterms:created>
  <dcterms:modified xsi:type="dcterms:W3CDTF">2019-02-06T19:11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